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82" d="100"/>
          <a:sy n="82" d="100"/>
        </p:scale>
        <p:origin x="850" y="48"/>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4.194</c:v>
                </c:pt>
                <c:pt idx="1">
                  <c:v>4.1509999999999998</c:v>
                </c:pt>
                <c:pt idx="2">
                  <c:v>3.8580000000000001</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12.688000000000001</c:v>
                </c:pt>
                <c:pt idx="1">
                  <c:v>13.085000000000001</c:v>
                </c:pt>
                <c:pt idx="2">
                  <c:v>12.702999999999999</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4.8869999999999996</c:v>
                </c:pt>
                <c:pt idx="1">
                  <c:v>5.0419999999999998</c:v>
                </c:pt>
                <c:pt idx="2">
                  <c:v>4.9130000000000003</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7.5410000000000004</c:v>
                </c:pt>
                <c:pt idx="1">
                  <c:v>6.3179999999999996</c:v>
                </c:pt>
                <c:pt idx="2">
                  <c:v>6.2939999999999996</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28.341999999999999</c:v>
                </c:pt>
                <c:pt idx="1">
                  <c:v>32.302999999999997</c:v>
                </c:pt>
                <c:pt idx="2">
                  <c:v>31.216000000000001</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6.952</c:v>
                </c:pt>
                <c:pt idx="1">
                  <c:v>9.3529999999999998</c:v>
                </c:pt>
                <c:pt idx="2">
                  <c:v>14.276999999999999</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64.603999999999999</c:v>
                </c:pt>
                <c:pt idx="1">
                  <c:v>70.251999999999995</c:v>
                </c:pt>
                <c:pt idx="2">
                  <c:v>73.260999999999996</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8F90A332-6AAA-4268-B4FB-86CE900847B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2E75D7D3-4217-4740-AE14-E0CB27C0F54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C29A849F-5953-416E-82D0-78E54CC18FD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A203D561-DC82-4AD8-A880-1BD04068845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542DA5F9-8828-474D-A1F1-3DE9BF7249D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2F95CDF4-BDF4-4AB4-ADBA-431CDBD3287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CA0A82FE-BDB6-45EC-857D-F5276537468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93A20C66-25B8-473C-AD2B-45E55475B71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95B0D5F9-C681-4FEA-B7C2-5E28954CBAF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A0D4F09C-5900-4D50-B18B-35E99E8F7D2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4C01921B-A982-418B-94DB-4F36B2E3FA9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203E76F6-88CC-4E58-B071-C744DF17F0A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769CEE88-5474-4E56-B62C-3A474DFE18A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4F12266A-3B1A-47E2-AD79-F4A28BD2D6D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07454EE9-708D-4764-803F-CB327C78551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41310576-1F99-41D6-83AE-CCCE9A09479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2AFB2757-EB64-4CB4-92C8-F50103D779E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C9D25373-4EE7-4B9A-836F-5ECBC7FFEA6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Gezondheids- en welzijnszorg</c:v>
                </c:pt>
                <c:pt idx="1">
                  <c:v>Handel</c:v>
                </c:pt>
                <c:pt idx="2">
                  <c:v>Industrie</c:v>
                </c:pt>
                <c:pt idx="3">
                  <c:v>Verhuur en overige zakelijke diensten</c:v>
                </c:pt>
                <c:pt idx="4">
                  <c:v>Onderwijs</c:v>
                </c:pt>
                <c:pt idx="5">
                  <c:v>Horeca</c:v>
                </c:pt>
                <c:pt idx="6">
                  <c:v>Bouwnijverheid</c:v>
                </c:pt>
                <c:pt idx="7">
                  <c:v>Specialistische zakelijke diensten</c:v>
                </c:pt>
                <c:pt idx="8">
                  <c:v>Openbaar bestuur en overheidsdiensten</c:v>
                </c:pt>
                <c:pt idx="9">
                  <c:v>Vervoer en opslag</c:v>
                </c:pt>
                <c:pt idx="10">
                  <c:v>Financiële dienstverlening</c:v>
                </c:pt>
                <c:pt idx="11">
                  <c:v>Informatie en communicatie</c:v>
                </c:pt>
                <c:pt idx="12">
                  <c:v>Cultuur, sport en recreatie</c:v>
                </c:pt>
                <c:pt idx="13">
                  <c:v>Verhuur en handel van onroerend goed</c:v>
                </c:pt>
                <c:pt idx="14">
                  <c:v>Overige dienstverlening</c:v>
                </c:pt>
                <c:pt idx="15">
                  <c:v>Waterbedrijven en afvalbeheer</c:v>
                </c:pt>
                <c:pt idx="16">
                  <c:v>Landbouw, bosbouw en visserij</c:v>
                </c:pt>
                <c:pt idx="17">
                  <c:v>Delfstoffenwinning</c:v>
                </c:pt>
                <c:pt idx="18">
                  <c:v>Energievoorziening</c:v>
                </c:pt>
              </c:strCache>
            </c:strRef>
          </c:cat>
          <c:val>
            <c:numRef>
              <c:f>Sheet1!$B$2:$B$20</c:f>
              <c:numCache>
                <c:formatCode>General</c:formatCode>
                <c:ptCount val="19"/>
                <c:pt idx="0">
                  <c:v>6.8</c:v>
                </c:pt>
                <c:pt idx="1">
                  <c:v>6.6</c:v>
                </c:pt>
                <c:pt idx="2">
                  <c:v>3.1</c:v>
                </c:pt>
                <c:pt idx="3">
                  <c:v>3</c:v>
                </c:pt>
                <c:pt idx="4">
                  <c:v>2.8</c:v>
                </c:pt>
                <c:pt idx="5">
                  <c:v>1.7</c:v>
                </c:pt>
                <c:pt idx="6">
                  <c:v>1.6</c:v>
                </c:pt>
                <c:pt idx="7">
                  <c:v>1.4</c:v>
                </c:pt>
                <c:pt idx="8">
                  <c:v>1.4</c:v>
                </c:pt>
                <c:pt idx="9">
                  <c:v>0.9</c:v>
                </c:pt>
                <c:pt idx="10">
                  <c:v>0.8</c:v>
                </c:pt>
                <c:pt idx="11">
                  <c:v>0.5</c:v>
                </c:pt>
                <c:pt idx="12">
                  <c:v>0.5</c:v>
                </c:pt>
                <c:pt idx="13">
                  <c:v>0.4</c:v>
                </c:pt>
                <c:pt idx="14">
                  <c:v>0.4</c:v>
                </c:pt>
                <c:pt idx="15">
                  <c:v>0.1</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6,8</c:v>
                  </c:pt>
                  <c:pt idx="1">
                    <c:v>6,6</c:v>
                  </c:pt>
                  <c:pt idx="2">
                    <c:v>3,1</c:v>
                  </c:pt>
                  <c:pt idx="3">
                    <c:v>3</c:v>
                  </c:pt>
                  <c:pt idx="4">
                    <c:v>2,8</c:v>
                  </c:pt>
                  <c:pt idx="5">
                    <c:v>1,7</c:v>
                  </c:pt>
                  <c:pt idx="6">
                    <c:v>1,6</c:v>
                  </c:pt>
                  <c:pt idx="7">
                    <c:v>1,4</c:v>
                  </c:pt>
                  <c:pt idx="8">
                    <c:v>1,4</c:v>
                  </c:pt>
                  <c:pt idx="9">
                    <c:v>0,9</c:v>
                  </c:pt>
                  <c:pt idx="10">
                    <c:v>0,8</c:v>
                  </c:pt>
                  <c:pt idx="11">
                    <c:v>0,5</c:v>
                  </c:pt>
                  <c:pt idx="12">
                    <c:v>0,5</c:v>
                  </c:pt>
                  <c:pt idx="13">
                    <c:v>0,4</c:v>
                  </c:pt>
                  <c:pt idx="14">
                    <c:v>0,4</c:v>
                  </c:pt>
                  <c:pt idx="15">
                    <c:v>0,1</c:v>
                  </c:pt>
                  <c:pt idx="16">
                    <c:v>0</c:v>
                  </c:pt>
                  <c:pt idx="17">
                    <c:v>0%</c:v>
                  </c:pt>
                  <c:pt idx="18">
                    <c:v>0%</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0833DBDA-C286-4046-9E11-3DB2627DF74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809256C8-9D81-4A46-B3EE-EF608842EBF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9BAFF1A0-FA29-4185-8141-4C5A3D7DE24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67C223DE-B81A-4526-9E1A-5B06C334DD0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1E0F2D72-D579-4E72-B6D4-6141450C32E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52F062CD-F9CC-478A-A95F-98E04731EAF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DCA759BD-6129-4DD7-B2E1-ED007E1CEE5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DD5537CD-1D06-42B8-B515-F7AB21A3C49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D4AE48C0-C826-4645-AB6A-406E6B81B13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899E017D-3390-48D9-A398-B967547454E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C4344B2F-ACE8-4EB2-A4B1-41E1E3FCA1B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6C8C6778-E995-4F27-B1B2-579FB88CF4E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21A98F0F-963E-40E4-90F0-2FB7E3B6AE2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9D3ED45D-3AC8-473E-B6E0-CA14F016B4E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84E43464-47FC-49C2-91AA-87C6C61AE72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A0AF8018-2C1D-4AE2-B1D9-CADE3074F90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E0DAA60D-153F-4EA1-8A28-2DEB03AC716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23A703C3-4580-403C-BA26-CA5A2B71B71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0.59999999999999964</c:v>
                </c:pt>
                <c:pt idx="1">
                  <c:v>0</c:v>
                </c:pt>
                <c:pt idx="2">
                  <c:v>0</c:v>
                </c:pt>
                <c:pt idx="3">
                  <c:v>0.60000000000000009</c:v>
                </c:pt>
                <c:pt idx="4">
                  <c:v>9.9999999999999645E-2</c:v>
                </c:pt>
                <c:pt idx="5">
                  <c:v>0.30000000000000004</c:v>
                </c:pt>
                <c:pt idx="6">
                  <c:v>0.20000000000000018</c:v>
                </c:pt>
                <c:pt idx="7">
                  <c:v>9.9999999999999867E-2</c:v>
                </c:pt>
                <c:pt idx="8">
                  <c:v>-0.10000000000000009</c:v>
                </c:pt>
                <c:pt idx="9">
                  <c:v>0</c:v>
                </c:pt>
                <c:pt idx="10">
                  <c:v>0.10000000000000009</c:v>
                </c:pt>
                <c:pt idx="11">
                  <c:v>9.9999999999999978E-2</c:v>
                </c:pt>
                <c:pt idx="12">
                  <c:v>-9.9999999999999978E-2</c:v>
                </c:pt>
                <c:pt idx="13">
                  <c:v>-9.9999999999999978E-2</c:v>
                </c:pt>
                <c:pt idx="14">
                  <c:v>0</c:v>
                </c:pt>
                <c:pt idx="15">
                  <c:v>0.1</c:v>
                </c:pt>
                <c:pt idx="16">
                  <c:v>0</c:v>
                </c:pt>
                <c:pt idx="17">
                  <c:v>0</c:v>
                </c:pt>
                <c:pt idx="18">
                  <c:v>0</c:v>
                </c:pt>
              </c:numCache>
            </c:numRef>
          </c:val>
          <c:extLst>
            <c:ext xmlns:c15="http://schemas.microsoft.com/office/drawing/2012/chart" uri="{02D57815-91ED-43cb-92C2-25804820EDAC}">
              <c15:datalabelsRange>
                <c15:f>Sheet1!$B$2:$B$20</c15:f>
                <c15:dlblRangeCache>
                  <c:ptCount val="19"/>
                  <c:pt idx="0">
                    <c:v>0,6</c:v>
                  </c:pt>
                  <c:pt idx="1">
                    <c:v>0</c:v>
                  </c:pt>
                  <c:pt idx="2">
                    <c:v>-</c:v>
                  </c:pt>
                  <c:pt idx="3">
                    <c:v>0,6</c:v>
                  </c:pt>
                  <c:pt idx="4">
                    <c:v>0,1</c:v>
                  </c:pt>
                  <c:pt idx="5">
                    <c:v>0,3</c:v>
                  </c:pt>
                  <c:pt idx="6">
                    <c:v>0,2</c:v>
                  </c:pt>
                  <c:pt idx="7">
                    <c:v>0,1</c:v>
                  </c:pt>
                  <c:pt idx="8">
                    <c:v>-0,1</c:v>
                  </c:pt>
                  <c:pt idx="9">
                    <c:v>0</c:v>
                  </c:pt>
                  <c:pt idx="10">
                    <c:v>0,1</c:v>
                  </c:pt>
                  <c:pt idx="11">
                    <c:v>0,1</c:v>
                  </c:pt>
                  <c:pt idx="12">
                    <c:v>-0,1</c:v>
                  </c:pt>
                  <c:pt idx="13">
                    <c:v>-0,1</c:v>
                  </c:pt>
                  <c:pt idx="14">
                    <c:v>0</c:v>
                  </c:pt>
                  <c:pt idx="15">
                    <c:v>0,1</c:v>
                  </c:pt>
                  <c:pt idx="16">
                    <c:v>0</c:v>
                  </c:pt>
                  <c:pt idx="17">
                    <c:v>0</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7DAE26A4-E34A-4BE2-B10A-A2FECEA7E40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9B3EDD39-E058-4C20-A21D-B690DB8EB14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4BE49AB2-37BF-47BB-8C0D-DE76EFFC3D7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3486349F-F173-4A91-B1CA-D85A2F1DFE4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835EA926-E7E8-4786-95C5-E06EA2E0358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4DE2A621-C885-4463-B23F-F2FA542CFF8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D7584DFD-E973-4748-B954-57BFC728158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C0DF2752-A865-4A3C-AAC6-17396037FFC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F8E43601-FBC6-47FE-B820-5BD7D76AB0C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360BE33C-DD10-4B8B-8832-AB5E3D5C8EF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89A9E279-4754-4370-BCC9-D8027C915B2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2A827100-BEB7-4323-9E71-9DBF79ED6CB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B278B72D-46D1-453B-AFFF-0807F68BBE6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3D4A3C87-8A76-4283-953D-0400A9F1619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44539607-CB90-4B40-A8C9-D2723CFE8C7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AE5E7D73-DD46-4BC3-9F24-1A4A5246994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7A0F3C3B-F1BA-4DF5-B334-0F461B00A0F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C6AA1C66-DA51-416E-B52E-EB632CED294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0.27987405896010675</c:v>
                </c:pt>
                <c:pt idx="1">
                  <c:v>0.24135730858468674</c:v>
                </c:pt>
                <c:pt idx="2">
                  <c:v>7.0049999999999946E-2</c:v>
                </c:pt>
                <c:pt idx="3">
                  <c:v>-0.26668722587719318</c:v>
                </c:pt>
                <c:pt idx="4">
                  <c:v>0.38504992603550292</c:v>
                </c:pt>
                <c:pt idx="5">
                  <c:v>4.4011134067952096E-2</c:v>
                </c:pt>
                <c:pt idx="6">
                  <c:v>0.28611778846153846</c:v>
                </c:pt>
                <c:pt idx="7">
                  <c:v>-0.30101250466592011</c:v>
                </c:pt>
                <c:pt idx="8">
                  <c:v>-0.29522487768159578</c:v>
                </c:pt>
                <c:pt idx="9">
                  <c:v>-0.39063211845102508</c:v>
                </c:pt>
                <c:pt idx="10">
                  <c:v>-0.20442379182156134</c:v>
                </c:pt>
                <c:pt idx="11">
                  <c:v>-0.53166579131652669</c:v>
                </c:pt>
                <c:pt idx="12">
                  <c:v>-5.7390768146582172E-2</c:v>
                </c:pt>
                <c:pt idx="13">
                  <c:v>0.55756914119359524</c:v>
                </c:pt>
                <c:pt idx="14">
                  <c:v>-0.2108775811209439</c:v>
                </c:pt>
                <c:pt idx="15">
                  <c:v>-0.24856039325842705</c:v>
                </c:pt>
                <c:pt idx="16">
                  <c:v>-1</c:v>
                </c:pt>
                <c:pt idx="17">
                  <c:v>-1</c:v>
                </c:pt>
                <c:pt idx="18">
                  <c:v>-1</c:v>
                </c:pt>
              </c:numCache>
            </c:numRef>
          </c:val>
          <c:extLst>
            <c:ext xmlns:c15="http://schemas.microsoft.com/office/drawing/2012/chart" uri="{02D57815-91ED-43cb-92C2-25804820EDAC}">
              <c15:datalabelsRange>
                <c15:f>Sheet1!$B$2:$B$20</c15:f>
                <c15:dlblRangeCache>
                  <c:ptCount val="19"/>
                  <c:pt idx="0">
                    <c:v>+28%</c:v>
                  </c:pt>
                  <c:pt idx="1">
                    <c:v>+24%</c:v>
                  </c:pt>
                  <c:pt idx="2">
                    <c:v>+7%</c:v>
                  </c:pt>
                  <c:pt idx="3">
                    <c:v>-27%</c:v>
                  </c:pt>
                  <c:pt idx="4">
                    <c:v>+39%</c:v>
                  </c:pt>
                  <c:pt idx="5">
                    <c:v>+4%</c:v>
                  </c:pt>
                  <c:pt idx="6">
                    <c:v>+29%</c:v>
                  </c:pt>
                  <c:pt idx="7">
                    <c:v>-30%</c:v>
                  </c:pt>
                  <c:pt idx="8">
                    <c:v>-30%</c:v>
                  </c:pt>
                  <c:pt idx="9">
                    <c:v>-39%</c:v>
                  </c:pt>
                  <c:pt idx="10">
                    <c:v>-20%</c:v>
                  </c:pt>
                  <c:pt idx="11">
                    <c:v>-53%</c:v>
                  </c:pt>
                  <c:pt idx="12">
                    <c:v>-6%</c:v>
                  </c:pt>
                  <c:pt idx="13">
                    <c:v>+56%</c:v>
                  </c:pt>
                  <c:pt idx="14">
                    <c:v>-21%</c:v>
                  </c:pt>
                  <c:pt idx="15">
                    <c:v>-25%</c:v>
                  </c:pt>
                  <c:pt idx="16">
                    <c:v>-100%</c:v>
                  </c:pt>
                  <c:pt idx="17">
                    <c:v>-100%</c:v>
                  </c:pt>
                  <c:pt idx="18">
                    <c:v>-100%</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66666666666666663</c:v>
                </c:pt>
                <c:pt idx="1">
                  <c:v>0.65454545454545454</c:v>
                </c:pt>
                <c:pt idx="2">
                  <c:v>0.6909090909090909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7.1999998092651368E-2</c:v>
                </c:pt>
                <c:pt idx="1">
                  <c:v>0.06</c:v>
                </c:pt>
                <c:pt idx="2">
                  <c:v>3.4000000953674316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7834639197852173</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16101457399103139</c:v>
                </c:pt>
                <c:pt idx="1">
                  <c:v>0.1737515934157291</c:v>
                </c:pt>
                <c:pt idx="2">
                  <c:v>0.17834639197852173</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7834639197852173</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6.5022421524663671E-2</c:v>
                </c:pt>
                <c:pt idx="1">
                  <c:v>6.3459513384692121E-2</c:v>
                </c:pt>
                <c:pt idx="2">
                  <c:v>5.9311818530491479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7834639197852173</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2.2421524663677129E-2</c:v>
                </c:pt>
                <c:pt idx="1">
                  <c:v>2.7573020007759241E-2</c:v>
                </c:pt>
                <c:pt idx="2">
                  <c:v>2.342337406169525E-2</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7834639197852173</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18</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21</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22</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21</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18</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0.99642857142857144</c:v>
                </c:pt>
                <c:pt idx="2">
                  <c:v>0.99642857142857144</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1.110857142857143</c:v>
                </c:pt>
                <c:pt idx="4" formatCode="0.0%">
                  <c:v>1.110857142857143</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1.0285714285714287</c:v>
                </c:pt>
                <c:pt idx="6" formatCode="0.0%">
                  <c:v>1.0285714285714287</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1.0285714285714287</c:v>
                </c:pt>
                <c:pt idx="8" formatCode="0.0%">
                  <c:v>1.0285714285714287</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0.84155844155844151</c:v>
                </c:pt>
                <c:pt idx="10" formatCode="0.0%">
                  <c:v>0.84155844155844151</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1.0285714285714285</c:v>
                </c:pt>
                <c:pt idx="14" formatCode="0.0%">
                  <c:v>1.0285714285714285</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1.5093167701863353</c:v>
                </c:pt>
                <c:pt idx="16" formatCode="0.0%">
                  <c:v>1.5093167701863353</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1.5882352941176467</c:v>
                </c:pt>
                <c:pt idx="18" formatCode="0.0%">
                  <c:v>1.5882352941176467</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1.0879120879120878</c:v>
                </c:pt>
                <c:pt idx="20" formatCode="0.0%">
                  <c:v>1.0879120879120878</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1.1428571428571428</c:v>
                </c:pt>
                <c:pt idx="22" formatCode="0.0%">
                  <c:v>1.1428571428571428</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81818181818181823</c:v>
                </c:pt>
                <c:pt idx="26">
                  <c:v>0.81818181818181823</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86666666666666681</c:v>
                </c:pt>
                <c:pt idx="28">
                  <c:v>0.86666666666666681</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0869565217391304</c:v>
                </c:pt>
                <c:pt idx="30">
                  <c:v>1.0869565217391304</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1.1153846153846152</c:v>
                </c:pt>
                <c:pt idx="32">
                  <c:v>1.1153846153846152</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92307692307692291</c:v>
                </c:pt>
                <c:pt idx="34">
                  <c:v>0.92307692307692291</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93103448275862088</c:v>
                </c:pt>
                <c:pt idx="38">
                  <c:v>0.93103448275862088</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88203266787658818</c:v>
                </c:pt>
                <c:pt idx="40">
                  <c:v>0.88203266787658818</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0241379310344829</c:v>
                </c:pt>
                <c:pt idx="42">
                  <c:v>1.0241379310344829</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1.0119940029985008</c:v>
                </c:pt>
                <c:pt idx="44">
                  <c:v>1.0119940029985008</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86453201970443361</c:v>
                </c:pt>
                <c:pt idx="46">
                  <c:v>0.86453201970443361</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4.194</c:v>
                </c:pt>
                <c:pt idx="1">
                  <c:v>4.1509999999999998</c:v>
                </c:pt>
                <c:pt idx="2">
                  <c:v>3.8580000000000001</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12.688000000000001</c:v>
                </c:pt>
                <c:pt idx="1">
                  <c:v>13.085000000000001</c:v>
                </c:pt>
                <c:pt idx="2">
                  <c:v>12.702999999999999</c:v>
                </c:pt>
                <c:pt idx="3">
                  <c:v>16.299999237060547</c:v>
                </c:pt>
                <c:pt idx="4">
                  <c:v>17.200000762939453</c:v>
                </c:pt>
                <c:pt idx="5">
                  <c:v>16.899999618530273</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4.8869999999999996</c:v>
                </c:pt>
                <c:pt idx="1">
                  <c:v>5.0419999999999998</c:v>
                </c:pt>
                <c:pt idx="2">
                  <c:v>4.9130000000000003</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7.5410000000000004</c:v>
                </c:pt>
                <c:pt idx="1">
                  <c:v>6.3179999999999996</c:v>
                </c:pt>
                <c:pt idx="2">
                  <c:v>6.2939999999999996</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28.341999999999999</c:v>
                </c:pt>
                <c:pt idx="1">
                  <c:v>32.302999999999997</c:v>
                </c:pt>
                <c:pt idx="2">
                  <c:v>31.216000000000001</c:v>
                </c:pt>
                <c:pt idx="3">
                  <c:v>41.200000762939453</c:v>
                </c:pt>
                <c:pt idx="4">
                  <c:v>39.200000762939453</c:v>
                </c:pt>
                <c:pt idx="5">
                  <c:v>39.5</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6.952</c:v>
                </c:pt>
                <c:pt idx="1">
                  <c:v>9.3529999999999998</c:v>
                </c:pt>
                <c:pt idx="2">
                  <c:v>14.276999999999999</c:v>
                </c:pt>
                <c:pt idx="3">
                  <c:v>17.200000762939453</c:v>
                </c:pt>
                <c:pt idx="4">
                  <c:v>19</c:v>
                </c:pt>
                <c:pt idx="5">
                  <c:v>18.5</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64.603999999999999</c:v>
                </c:pt>
                <c:pt idx="1">
                  <c:v>70.251999999999995</c:v>
                </c:pt>
                <c:pt idx="2">
                  <c:v>73.260999999999996</c:v>
                </c:pt>
                <c:pt idx="3">
                  <c:v>74.700000762939453</c:v>
                </c:pt>
                <c:pt idx="4">
                  <c:v>75.400001525878906</c:v>
                </c:pt>
                <c:pt idx="5">
                  <c:v>74.899999618530273</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60974430272622859</c:v>
                </c:pt>
                <c:pt idx="1">
                  <c:v>0.29843438312277099</c:v>
                </c:pt>
                <c:pt idx="2">
                  <c:v>9.0793689173668618E-2</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292000</c:v>
                </c:pt>
                <c:pt idx="1">
                  <c:v>251000</c:v>
                </c:pt>
                <c:pt idx="2">
                  <c:v>35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2715</c:v>
                </c:pt>
                <c:pt idx="1">
                  <c:v>1860</c:v>
                </c:pt>
                <c:pt idx="2">
                  <c:v>815</c:v>
                </c:pt>
                <c:pt idx="3">
                  <c:v>215</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2855</c:v>
                </c:pt>
                <c:pt idx="1">
                  <c:v>1930</c:v>
                </c:pt>
                <c:pt idx="2">
                  <c:v>1330</c:v>
                </c:pt>
                <c:pt idx="3">
                  <c:v>220</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1690</c:v>
                </c:pt>
                <c:pt idx="1">
                  <c:v>2235</c:v>
                </c:pt>
                <c:pt idx="2">
                  <c:v>3890</c:v>
                </c:pt>
                <c:pt idx="3">
                  <c:v>22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0.18343195266272189</c:v>
                </c:pt>
                <c:pt idx="1">
                  <c:v>6.7114093959731542E-3</c:v>
                </c:pt>
                <c:pt idx="2">
                  <c:v>3.3419023136246784E-2</c:v>
                </c:pt>
                <c:pt idx="3">
                  <c:v>0.48837209302325579</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19526627218934911</c:v>
                </c:pt>
                <c:pt idx="1">
                  <c:v>6.0402684563758392E-2</c:v>
                </c:pt>
                <c:pt idx="2">
                  <c:v>4.2416452442159386E-2</c:v>
                </c:pt>
                <c:pt idx="3">
                  <c:v>0.16279069767441862</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22485207100591717</c:v>
                </c:pt>
                <c:pt idx="1">
                  <c:v>0.10961968680089486</c:v>
                </c:pt>
                <c:pt idx="2">
                  <c:v>0.12596401028277635</c:v>
                </c:pt>
                <c:pt idx="3">
                  <c:v>0.18604651162790697</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20118343195266272</c:v>
                </c:pt>
                <c:pt idx="1">
                  <c:v>0.28859060402684567</c:v>
                </c:pt>
                <c:pt idx="2">
                  <c:v>0.3059125964010283</c:v>
                </c:pt>
                <c:pt idx="3">
                  <c:v>0.11627906976744186</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19526627218934911</c:v>
                </c:pt>
                <c:pt idx="1">
                  <c:v>0.53467561521252793</c:v>
                </c:pt>
                <c:pt idx="2">
                  <c:v>0.49228791773778918</c:v>
                </c:pt>
                <c:pt idx="3">
                  <c:v>4.6511627906976744E-2</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0.111</c:v>
                </c:pt>
                <c:pt idx="1">
                  <c:v>1.3000000000000001E-2</c:v>
                </c:pt>
                <c:pt idx="2">
                  <c:v>4.0000000000000001E-3</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1720</c:v>
                </c:pt>
                <c:pt idx="1">
                  <c:v>1810</c:v>
                </c:pt>
                <c:pt idx="2">
                  <c:v>1770</c:v>
                </c:pt>
                <c:pt idx="3">
                  <c:v>1795</c:v>
                </c:pt>
                <c:pt idx="4">
                  <c:v>1835</c:v>
                </c:pt>
                <c:pt idx="5">
                  <c:v>1930</c:v>
                </c:pt>
                <c:pt idx="6">
                  <c:v>1650</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150</c:v>
                </c:pt>
                <c:pt idx="1">
                  <c:v>140</c:v>
                </c:pt>
                <c:pt idx="2">
                  <c:v>140</c:v>
                </c:pt>
                <c:pt idx="3">
                  <c:v>155</c:v>
                </c:pt>
                <c:pt idx="4">
                  <c:v>165</c:v>
                </c:pt>
                <c:pt idx="5">
                  <c:v>170</c:v>
                </c:pt>
                <c:pt idx="6">
                  <c:v>190</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40</c:v>
                </c:pt>
                <c:pt idx="1">
                  <c:v>45</c:v>
                </c:pt>
                <c:pt idx="2">
                  <c:v>45</c:v>
                </c:pt>
                <c:pt idx="3">
                  <c:v>35</c:v>
                </c:pt>
                <c:pt idx="4">
                  <c:v>30</c:v>
                </c:pt>
                <c:pt idx="5">
                  <c:v>30</c:v>
                </c:pt>
                <c:pt idx="6">
                  <c:v>25</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orn</c:v>
                </c:pt>
                <c:pt idx="1">
                  <c:v>Nederland</c:v>
                </c:pt>
              </c:strCache>
            </c:strRef>
          </c:cat>
          <c:val>
            <c:numRef>
              <c:f>Sheet1!$B$2:$B$3</c:f>
              <c:numCache>
                <c:formatCode>0%</c:formatCode>
                <c:ptCount val="2"/>
                <c:pt idx="0">
                  <c:v>0.31753554502369669</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orn</c:v>
                </c:pt>
                <c:pt idx="1">
                  <c:v>Nederland</c:v>
                </c:pt>
              </c:strCache>
            </c:strRef>
          </c:cat>
          <c:val>
            <c:numRef>
              <c:f>Sheet1!$C$2:$C$3</c:f>
              <c:numCache>
                <c:formatCode>0%</c:formatCode>
                <c:ptCount val="2"/>
                <c:pt idx="0">
                  <c:v>0.27014218009478674</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orn</c:v>
                </c:pt>
                <c:pt idx="1">
                  <c:v>Nederland</c:v>
                </c:pt>
              </c:strCache>
            </c:strRef>
          </c:cat>
          <c:val>
            <c:numRef>
              <c:f>Sheet1!$D$2:$D$3</c:f>
              <c:numCache>
                <c:formatCode>0%</c:formatCode>
                <c:ptCount val="2"/>
                <c:pt idx="0">
                  <c:v>0.24822274881516587</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orn</c:v>
                </c:pt>
                <c:pt idx="1">
                  <c:v>Nederland</c:v>
                </c:pt>
              </c:strCache>
            </c:strRef>
          </c:cat>
          <c:val>
            <c:numRef>
              <c:f>Sheet1!$E$2:$E$3</c:f>
              <c:numCache>
                <c:formatCode>0%</c:formatCode>
                <c:ptCount val="2"/>
                <c:pt idx="0">
                  <c:v>0.1640995260663507</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41407897964189355</c:v>
                </c:pt>
                <c:pt idx="1">
                  <c:v>0.39</c:v>
                </c:pt>
                <c:pt idx="2">
                  <c:v>0.427848091608361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orn</c:v>
                </c:pt>
                <c:pt idx="1">
                  <c:v>Nederland</c:v>
                </c:pt>
              </c:strCache>
            </c:strRef>
          </c:cat>
          <c:val>
            <c:numRef>
              <c:f>Sheet1!$B$2:$B$3</c:f>
              <c:numCache>
                <c:formatCode>0.0%</c:formatCode>
                <c:ptCount val="2"/>
                <c:pt idx="0">
                  <c:v>0.48233790378805486</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orn</c:v>
                </c:pt>
                <c:pt idx="1">
                  <c:v>Nederland</c:v>
                </c:pt>
              </c:strCache>
            </c:strRef>
          </c:cat>
          <c:val>
            <c:numRef>
              <c:f>Sheet1!$C$2:$C$3</c:f>
              <c:numCache>
                <c:formatCode>0.0%</c:formatCode>
                <c:ptCount val="2"/>
                <c:pt idx="0">
                  <c:v>0.27399488728793864</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orn</c:v>
                </c:pt>
                <c:pt idx="1">
                  <c:v>Nederland</c:v>
                </c:pt>
              </c:strCache>
            </c:strRef>
          </c:cat>
          <c:val>
            <c:numRef>
              <c:f>Sheet1!$D$2:$D$3</c:f>
              <c:numCache>
                <c:formatCode>0.0%</c:formatCode>
                <c:ptCount val="2"/>
                <c:pt idx="0">
                  <c:v>0.17813153613757843</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orn</c:v>
                </c:pt>
                <c:pt idx="1">
                  <c:v>Nederland</c:v>
                </c:pt>
              </c:strCache>
            </c:strRef>
          </c:cat>
          <c:val>
            <c:numRef>
              <c:f>Sheet1!$E$2:$E$3</c:f>
              <c:numCache>
                <c:formatCode>0.0%</c:formatCode>
                <c:ptCount val="2"/>
                <c:pt idx="0">
                  <c:v>6.5535672786428079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DD557B3E-2502-4335-9100-B0C4C97E64E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F2CE469-0BE5-4E70-B098-C776E3C46877}"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F7A49B68-E4F0-4B92-A5DA-5F06421E6CD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B759D455-C498-404E-BD92-7F5B076E3B79}"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00E832D7-C730-491E-851C-ACF9D99C12C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3B8AFD4E-8C43-4035-8804-3F131F5E67E5}"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keersmisdrijven</c:v>
                </c:pt>
                <c:pt idx="2">
                  <c:v>Vernieling</c:v>
                </c:pt>
                <c:pt idx="3">
                  <c:v>Gewelds- en 
seksuele misdrijven</c:v>
                </c:pt>
                <c:pt idx="4">
                  <c:v>Bedrog</c:v>
                </c:pt>
                <c:pt idx="5">
                  <c:v>Valsheidsmisdrijven</c:v>
                </c:pt>
                <c:pt idx="6">
                  <c:v>Overig</c:v>
                </c:pt>
              </c:strCache>
            </c:strRef>
          </c:cat>
          <c:val>
            <c:numRef>
              <c:f>Sheet1!$B$2:$B$8</c:f>
              <c:numCache>
                <c:formatCode>#,##0</c:formatCode>
                <c:ptCount val="7"/>
                <c:pt idx="0">
                  <c:v>1345</c:v>
                </c:pt>
                <c:pt idx="1">
                  <c:v>615</c:v>
                </c:pt>
                <c:pt idx="2">
                  <c:v>610</c:v>
                </c:pt>
                <c:pt idx="3">
                  <c:v>415</c:v>
                </c:pt>
                <c:pt idx="4">
                  <c:v>240</c:v>
                </c:pt>
                <c:pt idx="5">
                  <c:v>100</c:v>
                </c:pt>
                <c:pt idx="6">
                  <c:v>160</c:v>
                </c:pt>
              </c:numCache>
            </c:numRef>
          </c:val>
          <c:extLst>
            <c:ext xmlns:c15="http://schemas.microsoft.com/office/drawing/2012/chart" uri="{02D57815-91ED-43cb-92C2-25804820EDAC}">
              <c15:datalabelsRange>
                <c15:f>Sheet1!$B$2:$B$20</c15:f>
                <c15:dlblRangeCache>
                  <c:ptCount val="19"/>
                  <c:pt idx="0">
                    <c:v>1.345</c:v>
                  </c:pt>
                  <c:pt idx="1">
                    <c:v>615</c:v>
                  </c:pt>
                  <c:pt idx="2">
                    <c:v>610</c:v>
                  </c:pt>
                  <c:pt idx="3">
                    <c:v>415</c:v>
                  </c:pt>
                  <c:pt idx="4">
                    <c:v>240</c:v>
                  </c:pt>
                  <c:pt idx="5">
                    <c:v>100</c:v>
                  </c:pt>
                  <c:pt idx="6">
                    <c:v>160</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2944CF8C-ABA9-473D-850A-7BD2B0F5B8B1}"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E88C3ECB-217F-4AE9-9835-D9E95C1F8241}"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A3FA58E8-F79F-4C9A-BB00-1CC787B8549C}"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54E148EF-DD05-4011-838C-30F52487D1AC}"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C645C971-0987-409C-83E8-952C6C175A8E}"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E2AE0886-0802-47BD-BBD8-4CEA6F951F30}"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14902584957254009</c:v>
                </c:pt>
                <c:pt idx="1">
                  <c:v>0.17947362809119394</c:v>
                </c:pt>
                <c:pt idx="2">
                  <c:v>0.41503853352447634</c:v>
                </c:pt>
                <c:pt idx="3">
                  <c:v>0.18058679075753245</c:v>
                </c:pt>
                <c:pt idx="4">
                  <c:v>6.2358956407220556E-2</c:v>
                </c:pt>
                <c:pt idx="5">
                  <c:v>-0.34342258368397643</c:v>
                </c:pt>
                <c:pt idx="6">
                  <c:v>-0.15820340054586576</c:v>
                </c:pt>
              </c:numCache>
            </c:numRef>
          </c:val>
          <c:extLst>
            <c:ext xmlns:c15="http://schemas.microsoft.com/office/drawing/2012/chart" uri="{02D57815-91ED-43cb-92C2-25804820EDAC}">
              <c15:datalabelsRange>
                <c15:f>Sheet1!$B$2:$B$35</c15:f>
                <c15:dlblRangeCache>
                  <c:ptCount val="34"/>
                  <c:pt idx="0">
                    <c:v>-15%</c:v>
                  </c:pt>
                  <c:pt idx="1">
                    <c:v>+18%</c:v>
                  </c:pt>
                  <c:pt idx="2">
                    <c:v>+42%</c:v>
                  </c:pt>
                  <c:pt idx="3">
                    <c:v>+18%</c:v>
                  </c:pt>
                  <c:pt idx="4">
                    <c:v>+6%</c:v>
                  </c:pt>
                  <c:pt idx="5">
                    <c:v>-34%</c:v>
                  </c:pt>
                  <c:pt idx="6">
                    <c:v>-16%</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E03E8F82-8C2D-44C2-9902-4D4CE5FB4F15}"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0E62D64A-9318-48A9-B39A-28ECC936C020}"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45954AA6-E598-4F2A-BF57-DDB26452B8DE}"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8DB58CBC-E86A-4D65-8AD6-1AC419367DA8}"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FCDA3759-ECFD-4C17-B902-2DBE8AD58516}"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18934445303980021</c:v>
                </c:pt>
                <c:pt idx="1">
                  <c:v>-0.13960200485927077</c:v>
                </c:pt>
                <c:pt idx="2">
                  <c:v>-3.8161641989275102E-2</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11894264414207814</c:v>
                </c:pt>
                <c:pt idx="1">
                  <c:v>8.6037818285662065E-2</c:v>
                </c:pt>
                <c:pt idx="2">
                  <c:v>8.2242145559651508E-2</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H'12</c:v>
                  </c:pt>
                  <c:pt idx="1">
                    <c:v>H'17</c:v>
                  </c:pt>
                  <c:pt idx="2">
                    <c:v>H'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E0AB8C30-B7D4-4006-BFD5-6196F1552C98}"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702A32D9-ACD5-46E0-8EE4-1D8FB053F329}"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198EBD59-8071-41BD-8427-6D786EF983FF}"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871F183A-BC9C-409B-BE9D-E8F1C3B02064}"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092E5D91-1B58-4D7D-B056-39E961FDF62E}"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126074499496764</c:v>
                </c:pt>
                <c:pt idx="1">
                  <c:v>3.2207544955679422E-2</c:v>
                </c:pt>
                <c:pt idx="2">
                  <c:v>-3.8161641989275102E-2</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17379413598838095</c:v>
                </c:pt>
                <c:pt idx="1">
                  <c:v>-5.2169218724298652E-2</c:v>
                </c:pt>
                <c:pt idx="2">
                  <c:v>8.2242145559651508E-2</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H'12</c:v>
                  </c:pt>
                  <c:pt idx="1">
                    <c:v>H'17</c:v>
                  </c:pt>
                  <c:pt idx="2">
                    <c:v>H'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27979921520664525</c:v>
                </c:pt>
                <c:pt idx="1">
                  <c:v>7.6899556642715181E-2</c:v>
                </c:pt>
                <c:pt idx="2">
                  <c:v>9.6952555674463634E-2</c:v>
                </c:pt>
                <c:pt idx="3">
                  <c:v>5.6209550017836216E-2</c:v>
                </c:pt>
                <c:pt idx="4">
                  <c:v>0.10337359221321918</c:v>
                </c:pt>
                <c:pt idx="5">
                  <c:v>0.2758752484329613</c:v>
                </c:pt>
                <c:pt idx="6">
                  <c:v>2.2601029404270497E-2</c:v>
                </c:pt>
                <c:pt idx="7">
                  <c:v>0</c:v>
                </c:pt>
                <c:pt idx="8">
                  <c:v>2.5913468888549153E-2</c:v>
                </c:pt>
                <c:pt idx="9">
                  <c:v>1.1619018498700505E-2</c:v>
                </c:pt>
                <c:pt idx="10">
                  <c:v>0</c:v>
                </c:pt>
                <c:pt idx="11">
                  <c:v>0</c:v>
                </c:pt>
                <c:pt idx="12">
                  <c:v>2.2932273352698363E-3</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23012428036187518</c:v>
                </c:pt>
                <c:pt idx="1">
                  <c:v>0.12775290139815407</c:v>
                </c:pt>
                <c:pt idx="2">
                  <c:v>0.12409759663711963</c:v>
                </c:pt>
                <c:pt idx="3">
                  <c:v>8.7430320752992785E-2</c:v>
                </c:pt>
                <c:pt idx="4">
                  <c:v>9.6225897834231924E-2</c:v>
                </c:pt>
                <c:pt idx="5">
                  <c:v>7.2329342958969201E-2</c:v>
                </c:pt>
                <c:pt idx="6">
                  <c:v>0.10643790551037192</c:v>
                </c:pt>
                <c:pt idx="7">
                  <c:v>2.1817600292424379E-2</c:v>
                </c:pt>
                <c:pt idx="8">
                  <c:v>3.9477291419172077E-2</c:v>
                </c:pt>
                <c:pt idx="9">
                  <c:v>1.5877730055743399E-2</c:v>
                </c:pt>
                <c:pt idx="10">
                  <c:v>0</c:v>
                </c:pt>
                <c:pt idx="11">
                  <c:v>0</c:v>
                </c:pt>
                <c:pt idx="12">
                  <c:v>2.4901763684547201E-3</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23018486288160309</c:v>
                </c:pt>
                <c:pt idx="1">
                  <c:v>0.16762312432381579</c:v>
                </c:pt>
                <c:pt idx="2">
                  <c:v>9.979302883484642E-2</c:v>
                </c:pt>
                <c:pt idx="3">
                  <c:v>7.0534832306317324E-2</c:v>
                </c:pt>
                <c:pt idx="4">
                  <c:v>6.6536525706759483E-2</c:v>
                </c:pt>
                <c:pt idx="5">
                  <c:v>6.3243802624770681E-2</c:v>
                </c:pt>
                <c:pt idx="6">
                  <c:v>5.4118255797544569E-2</c:v>
                </c:pt>
                <c:pt idx="7">
                  <c:v>6.409050284585352E-2</c:v>
                </c:pt>
                <c:pt idx="8">
                  <c:v>4.6827226115997933E-2</c:v>
                </c:pt>
                <c:pt idx="9">
                  <c:v>1.5123006726562867E-2</c:v>
                </c:pt>
                <c:pt idx="10">
                  <c:v>2.1990686297568087E-2</c:v>
                </c:pt>
                <c:pt idx="11">
                  <c:v>2.6553459711181147E-2</c:v>
                </c:pt>
                <c:pt idx="12">
                  <c:v>2.4695423114916037E-3</c:v>
                </c:pt>
                <c:pt idx="13">
                  <c:v>1.6298979255844583E-2</c:v>
                </c:pt>
                <c:pt idx="14">
                  <c:v>1.3594242438496636E-2</c:v>
                </c:pt>
                <c:pt idx="15">
                  <c:v>3.4338397855026106E-3</c:v>
                </c:pt>
                <c:pt idx="16">
                  <c:v>9.2431440801542877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6</c:v>
                </c:pt>
                <c:pt idx="1">
                  <c:v>0</c:v>
                </c:pt>
                <c:pt idx="2">
                  <c:v>3</c:v>
                </c:pt>
                <c:pt idx="3">
                  <c:v>3</c:v>
                </c:pt>
                <c:pt idx="4">
                  <c:v>3</c:v>
                </c:pt>
                <c:pt idx="5">
                  <c:v>2</c:v>
                </c:pt>
                <c:pt idx="6">
                  <c:v>5</c:v>
                </c:pt>
                <c:pt idx="7">
                  <c:v>0</c:v>
                </c:pt>
                <c:pt idx="8">
                  <c:v>0</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6</c:v>
                </c:pt>
                <c:pt idx="1">
                  <c:v>0</c:v>
                </c:pt>
                <c:pt idx="2">
                  <c:v>3</c:v>
                </c:pt>
                <c:pt idx="3">
                  <c:v>3</c:v>
                </c:pt>
                <c:pt idx="4">
                  <c:v>3</c:v>
                </c:pt>
                <c:pt idx="5">
                  <c:v>2</c:v>
                </c:pt>
                <c:pt idx="6">
                  <c:v>5</c:v>
                </c:pt>
                <c:pt idx="7">
                  <c:v>0</c:v>
                </c:pt>
                <c:pt idx="8">
                  <c:v>0</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5</c:v>
                </c:pt>
                <c:pt idx="1">
                  <c:v>0</c:v>
                </c:pt>
                <c:pt idx="2">
                  <c:v>4</c:v>
                </c:pt>
                <c:pt idx="3">
                  <c:v>3</c:v>
                </c:pt>
                <c:pt idx="4">
                  <c:v>4</c:v>
                </c:pt>
                <c:pt idx="5">
                  <c:v>0</c:v>
                </c:pt>
                <c:pt idx="6">
                  <c:v>3</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Fractie Tonnaer</c:v>
                </c:pt>
                <c:pt idx="1">
                  <c:v>Hoornse Onafhankelijke Partij (HOP)</c:v>
                </c:pt>
                <c:pt idx="2">
                  <c:v>Hoornse Senioren Partij (HSP)</c:v>
                </c:pt>
                <c:pt idx="3">
                  <c:v>Sociaal Hoorn</c:v>
                </c:pt>
                <c:pt idx="4">
                  <c:v>VOCHoorn</c:v>
                </c:pt>
                <c:pt idx="5">
                  <c:v>De Realistische Partij (DRP)</c:v>
                </c:pt>
                <c:pt idx="6">
                  <c:v>Hoorn Lokaal</c:v>
                </c:pt>
                <c:pt idx="7">
                  <c:v>Hoorns Belang</c:v>
                </c:pt>
              </c:strCache>
            </c:strRef>
          </c:cat>
          <c:val>
            <c:numRef>
              <c:f>Sheet1!$B$2:$B$9</c:f>
              <c:numCache>
                <c:formatCode>0</c:formatCode>
                <c:ptCount val="8"/>
                <c:pt idx="0">
                  <c:v>5</c:v>
                </c:pt>
                <c:pt idx="2">
                  <c:v>2</c:v>
                </c:pt>
                <c:pt idx="7" formatCode="0.0%">
                  <c:v>1</c:v>
                </c:pt>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Fractie Tonnaer</c:v>
                </c:pt>
                <c:pt idx="1">
                  <c:v>Hoornse Onafhankelijke Partij (HOP)</c:v>
                </c:pt>
                <c:pt idx="2">
                  <c:v>Hoornse Senioren Partij (HSP)</c:v>
                </c:pt>
                <c:pt idx="3">
                  <c:v>Sociaal Hoorn</c:v>
                </c:pt>
                <c:pt idx="4">
                  <c:v>VOCHoorn</c:v>
                </c:pt>
                <c:pt idx="5">
                  <c:v>De Realistische Partij (DRP)</c:v>
                </c:pt>
                <c:pt idx="6">
                  <c:v>Hoorn Lokaal</c:v>
                </c:pt>
                <c:pt idx="7">
                  <c:v>Hoorns Belang</c:v>
                </c:pt>
              </c:strCache>
            </c:strRef>
          </c:cat>
          <c:val>
            <c:numRef>
              <c:f>Sheet1!$C$2:$C$9</c:f>
              <c:numCache>
                <c:formatCode>0</c:formatCode>
                <c:ptCount val="8"/>
                <c:pt idx="0">
                  <c:v>2</c:v>
                </c:pt>
                <c:pt idx="2">
                  <c:v>2</c:v>
                </c:pt>
                <c:pt idx="6" formatCode="0.0%">
                  <c:v>1</c:v>
                </c:pt>
                <c:pt idx="7" formatCode="0.0%">
                  <c:v>2</c:v>
                </c:pt>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fld id="{AB5D50CE-AD53-44DE-94A2-802D3FD5E2CB}"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A9-432E-B386-93EF51010C41}"/>
                </c:ext>
              </c:extLst>
            </c:dLbl>
            <c:dLbl>
              <c:idx val="2"/>
              <c:tx>
                <c:rich>
                  <a:bodyPr/>
                  <a:lstStyle/>
                  <a:p>
                    <a:fld id="{1B14748F-65DE-4440-A6BE-3C16786510D8}"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5A9-432E-B386-93EF51010C41}"/>
                </c:ext>
              </c:extLst>
            </c:dLbl>
            <c:dLbl>
              <c:idx val="3"/>
              <c:tx>
                <c:rich>
                  <a:bodyPr/>
                  <a:lstStyle/>
                  <a:p>
                    <a:fld id="{04F13245-CC3F-4E2D-8AD1-B3A8B362EE67}"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5A9-432E-B386-93EF51010C41}"/>
                </c:ext>
              </c:extLst>
            </c:dLbl>
            <c:dLbl>
              <c:idx val="4"/>
              <c:tx>
                <c:rich>
                  <a:bodyPr/>
                  <a:lstStyle/>
                  <a:p>
                    <a:fld id="{041CA4D0-00EA-4BA4-B4B3-736E010A9F0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5A9-432E-B386-93EF51010C41}"/>
                </c:ext>
              </c:extLst>
            </c:dLbl>
            <c:dLbl>
              <c:idx val="5"/>
              <c:tx>
                <c:rich>
                  <a:bodyPr/>
                  <a:lstStyle/>
                  <a:p>
                    <a:fld id="{FDC531E1-684A-4274-B88E-9C5000E6CBFF}"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Fractie Tonnaer</c:v>
                </c:pt>
                <c:pt idx="1">
                  <c:v>Hoornse Onafhankelijke Partij (HOP)</c:v>
                </c:pt>
                <c:pt idx="2">
                  <c:v>Hoornse Senioren Partij (HSP)</c:v>
                </c:pt>
                <c:pt idx="3">
                  <c:v>Sociaal Hoorn</c:v>
                </c:pt>
                <c:pt idx="4">
                  <c:v>VOCHoorn</c:v>
                </c:pt>
                <c:pt idx="5">
                  <c:v>De Realistische Partij (DRP)</c:v>
                </c:pt>
                <c:pt idx="6">
                  <c:v>Hoorn Lokaal</c:v>
                </c:pt>
                <c:pt idx="7">
                  <c:v>Hoorns Belang</c:v>
                </c:pt>
              </c:strCache>
            </c:strRef>
          </c:cat>
          <c:val>
            <c:numRef>
              <c:f>Sheet1!$D$2:$D$9</c:f>
              <c:numCache>
                <c:formatCode>0</c:formatCode>
                <c:ptCount val="8"/>
                <c:pt idx="0">
                  <c:v>4</c:v>
                </c:pt>
                <c:pt idx="1">
                  <c:v>2</c:v>
                </c:pt>
                <c:pt idx="2">
                  <c:v>2</c:v>
                </c:pt>
                <c:pt idx="3" formatCode="0.0%">
                  <c:v>2</c:v>
                </c:pt>
                <c:pt idx="4" formatCode="0.0%">
                  <c:v>2</c:v>
                </c:pt>
                <c:pt idx="5" formatCode="0.0%">
                  <c:v>1</c:v>
                </c:pt>
                <c:pt idx="6" formatCode="0.0%">
                  <c:v>1</c:v>
                </c:pt>
                <c:pt idx="7" formatCode="0.0%">
                  <c:v>1</c:v>
                </c:pt>
              </c:numCache>
            </c:numRef>
          </c:val>
          <c:extLst>
            <c:ext xmlns:c15="http://schemas.microsoft.com/office/drawing/2012/chart" uri="{02D57815-91ED-43cb-92C2-25804820EDAC}">
              <c15:datalabelsRange>
                <c15:f>Sheet1!$D$2:$D$7</c15:f>
                <c15:dlblRangeCache>
                  <c:ptCount val="6"/>
                  <c:pt idx="0">
                    <c:v>4</c:v>
                  </c:pt>
                  <c:pt idx="1">
                    <c:v>2</c:v>
                  </c:pt>
                  <c:pt idx="2">
                    <c:v>2</c:v>
                  </c:pt>
                  <c:pt idx="3">
                    <c:v>200,0%</c:v>
                  </c:pt>
                  <c:pt idx="4">
                    <c:v>200,0%</c:v>
                  </c:pt>
                  <c:pt idx="5">
                    <c:v>100,0%</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orn</c:v>
                </c:pt>
                <c:pt idx="1">
                  <c:v>Nederland</c:v>
                </c:pt>
              </c:strCache>
            </c:strRef>
          </c:cat>
          <c:val>
            <c:numRef>
              <c:f>Sheet1!$B$2:$B$3</c:f>
              <c:numCache>
                <c:formatCode>0%</c:formatCode>
                <c:ptCount val="2"/>
                <c:pt idx="0">
                  <c:v>0.67103064066852369</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orn</c:v>
                </c:pt>
                <c:pt idx="1">
                  <c:v>Nederland</c:v>
                </c:pt>
              </c:strCache>
            </c:strRef>
          </c:cat>
          <c:val>
            <c:numRef>
              <c:f>Sheet1!$C$2:$C$3</c:f>
              <c:numCache>
                <c:formatCode>0%</c:formatCode>
                <c:ptCount val="2"/>
                <c:pt idx="0">
                  <c:v>0.23342618384401115</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orn</c:v>
                </c:pt>
                <c:pt idx="1">
                  <c:v>Nederland</c:v>
                </c:pt>
              </c:strCache>
            </c:strRef>
          </c:cat>
          <c:val>
            <c:numRef>
              <c:f>Sheet1!$D$2:$D$3</c:f>
              <c:numCache>
                <c:formatCode>0%</c:formatCode>
                <c:ptCount val="2"/>
                <c:pt idx="0">
                  <c:v>9.1086350974930369E-2</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oorn</c:v>
                </c:pt>
                <c:pt idx="1">
                  <c:v>Nederland</c:v>
                </c:pt>
              </c:strCache>
            </c:strRef>
          </c:cat>
          <c:val>
            <c:numRef>
              <c:f>Sheet1!$E$2:$E$3</c:f>
              <c:numCache>
                <c:formatCode>0%</c:formatCode>
                <c:ptCount val="2"/>
                <c:pt idx="0">
                  <c:v>4.4568245125348191E-3</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17051753740495462</c:v>
                </c:pt>
                <c:pt idx="1">
                  <c:v>0.33700000000000002</c:v>
                </c:pt>
                <c:pt idx="2">
                  <c:v>0.46835443037974683</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edemblik</c:v>
                </c:pt>
                <c:pt idx="1">
                  <c:v>Amsterdam</c:v>
                </c:pt>
                <c:pt idx="2">
                  <c:v>Drechterland</c:v>
                </c:pt>
                <c:pt idx="3">
                  <c:v>Koggenland</c:v>
                </c:pt>
                <c:pt idx="4">
                  <c:v>Stede Broec</c:v>
                </c:pt>
                <c:pt idx="5">
                  <c:v>Enkhuizen</c:v>
                </c:pt>
                <c:pt idx="6">
                  <c:v>Purmerend</c:v>
                </c:pt>
                <c:pt idx="7">
                  <c:v>Alkmaar</c:v>
                </c:pt>
                <c:pt idx="8">
                  <c:v>Hollands Kroon</c:v>
                </c:pt>
                <c:pt idx="9">
                  <c:v>Opmeer</c:v>
                </c:pt>
              </c:strCache>
            </c:strRef>
          </c:cat>
          <c:val>
            <c:numRef>
              <c:f>Sheet1!$B$2:$B$11</c:f>
              <c:numCache>
                <c:formatCode>General</c:formatCode>
                <c:ptCount val="10"/>
                <c:pt idx="0">
                  <c:v>350</c:v>
                </c:pt>
                <c:pt idx="1">
                  <c:v>297</c:v>
                </c:pt>
                <c:pt idx="2">
                  <c:v>265</c:v>
                </c:pt>
                <c:pt idx="3">
                  <c:v>150</c:v>
                </c:pt>
                <c:pt idx="4">
                  <c:v>123</c:v>
                </c:pt>
                <c:pt idx="5">
                  <c:v>102</c:v>
                </c:pt>
                <c:pt idx="6">
                  <c:v>100</c:v>
                </c:pt>
                <c:pt idx="7">
                  <c:v>94</c:v>
                </c:pt>
                <c:pt idx="8">
                  <c:v>69</c:v>
                </c:pt>
                <c:pt idx="9">
                  <c:v>60</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Medemblik</c:v>
                </c:pt>
                <c:pt idx="1">
                  <c:v>Amsterdam</c:v>
                </c:pt>
                <c:pt idx="2">
                  <c:v>Drechterland</c:v>
                </c:pt>
                <c:pt idx="3">
                  <c:v>Koggenland</c:v>
                </c:pt>
                <c:pt idx="4">
                  <c:v>Stede Broec</c:v>
                </c:pt>
                <c:pt idx="5">
                  <c:v>Enkhuizen</c:v>
                </c:pt>
                <c:pt idx="6">
                  <c:v>Purmerend</c:v>
                </c:pt>
                <c:pt idx="7">
                  <c:v>Alkmaar</c:v>
                </c:pt>
                <c:pt idx="8">
                  <c:v>Hollands Kroon</c:v>
                </c:pt>
                <c:pt idx="9">
                  <c:v>Opmeer</c:v>
                </c:pt>
              </c:strCache>
            </c:strRef>
          </c:cat>
          <c:val>
            <c:numRef>
              <c:f>Sheet1!$C$2:$C$11</c:f>
              <c:numCache>
                <c:formatCode>General</c:formatCode>
                <c:ptCount val="10"/>
                <c:pt idx="0">
                  <c:v>13</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msterdam</c:v>
                </c:pt>
                <c:pt idx="1">
                  <c:v>Medemblik</c:v>
                </c:pt>
                <c:pt idx="2">
                  <c:v>Drechterland</c:v>
                </c:pt>
                <c:pt idx="3">
                  <c:v>Koggenland</c:v>
                </c:pt>
                <c:pt idx="4">
                  <c:v>Zaanstad</c:v>
                </c:pt>
                <c:pt idx="5">
                  <c:v>Stede Broec</c:v>
                </c:pt>
                <c:pt idx="6">
                  <c:v>Purmerend</c:v>
                </c:pt>
                <c:pt idx="7">
                  <c:v>Hollands Kroon</c:v>
                </c:pt>
                <c:pt idx="8">
                  <c:v>Opmeer</c:v>
                </c:pt>
                <c:pt idx="9">
                  <c:v>Heerhugowaard</c:v>
                </c:pt>
              </c:strCache>
            </c:strRef>
          </c:cat>
          <c:val>
            <c:numRef>
              <c:f>Sheet1!$B$2:$B$11</c:f>
              <c:numCache>
                <c:formatCode>General</c:formatCode>
                <c:ptCount val="10"/>
                <c:pt idx="0">
                  <c:v>363</c:v>
                </c:pt>
                <c:pt idx="1">
                  <c:v>316</c:v>
                </c:pt>
                <c:pt idx="2">
                  <c:v>246</c:v>
                </c:pt>
                <c:pt idx="3">
                  <c:v>134</c:v>
                </c:pt>
                <c:pt idx="4">
                  <c:v>118</c:v>
                </c:pt>
                <c:pt idx="5">
                  <c:v>89</c:v>
                </c:pt>
                <c:pt idx="6">
                  <c:v>88</c:v>
                </c:pt>
                <c:pt idx="7">
                  <c:v>70</c:v>
                </c:pt>
                <c:pt idx="8">
                  <c:v>70</c:v>
                </c:pt>
                <c:pt idx="9">
                  <c:v>65</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Amsterdam</c:v>
                </c:pt>
                <c:pt idx="1">
                  <c:v>Medemblik</c:v>
                </c:pt>
                <c:pt idx="2">
                  <c:v>Drechterland</c:v>
                </c:pt>
                <c:pt idx="3">
                  <c:v>Koggenland</c:v>
                </c:pt>
                <c:pt idx="4">
                  <c:v>Zaanstad</c:v>
                </c:pt>
                <c:pt idx="5">
                  <c:v>Stede Broec</c:v>
                </c:pt>
                <c:pt idx="6">
                  <c:v>Purmerend</c:v>
                </c:pt>
                <c:pt idx="7">
                  <c:v>Hollands Kroon</c:v>
                </c:pt>
                <c:pt idx="8">
                  <c:v>Opmeer</c:v>
                </c:pt>
                <c:pt idx="9">
                  <c:v>Heerhugowaard</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0.10526315789473684</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42105263157894735</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8421052631578946</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28947368421052633</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7-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6F06E49-B370-4F38-9558-B82F6E9D2D5D}"/>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 y="-1270000"/>
            <a:ext cx="12700000" cy="17260232"/>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520822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Hoorn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Hoorn</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3748572166"/>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3606021782"/>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Hoorn vallen 18,0% van de huishoudens in de hoogste inkomensgroep (rijkste 20% van Nederland). Er zijn dus relatief weinig rijken in Hoorn. De oranje balk komt dus onder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Hoorn zijn de arme eenpersoonshuishoudens oververtegenwoordigd. De oranje balk komt dus boven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Hoorn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Hoorn</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33.086</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135</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2.826</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20%</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35503250"/>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2448143429"/>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Hoorn</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6.035</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83</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0</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20%</a:t>
            </a: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377%</a:t>
            </a: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2%</a:t>
            </a: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1910664969"/>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2149008232"/>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Hoor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1,5%</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5,2%</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8,7%</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2666820346"/>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1497845149"/>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Hoorn</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Hoorn</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Hoorn</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Hoor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Hoorn</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Hoorn</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6.375</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4.151</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357</a:t>
            </a: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626 mind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30 me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122 mind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2993231587"/>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2468587735"/>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Hoor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47,7</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Vernieling</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Valsheids- misdrijven</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Drugsmisdrijven(40), Softdrugs(30) en Heling(25).</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3.485</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1%</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1917538272"/>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2242690665"/>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Hoorn het meest ov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Hoorn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Hoor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Hoorn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Hoorn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Hoorn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4136758148"/>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4122888990"/>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Hoorn</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Hoorn</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55.736</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76%</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2503055434"/>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Hoorn</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Hoorn</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57.146</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51,9%</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3930357306"/>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1477149208"/>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Hoor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50</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4,2%</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4,2%</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474633835"/>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Hoor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Hoor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53580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73.261</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8.657</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71</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58</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99</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1648815341"/>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13%</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Hoorn</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43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6%</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5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1%</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1</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97</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41</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1104730841"/>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Hoorn</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788986502"/>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2958620496"/>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Hoorn</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324904873"/>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3015963389"/>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2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3%</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9%</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Hoorn</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64% van de verhuizers naar Hoorn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59% van de verhuizers weg uit Hoorn</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1427583533"/>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1711595236"/>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Hoor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Hoorn</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31.8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38.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0,9</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3341254586"/>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Hoorn</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Gezondheids- en welzijnszorg</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6.8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Gezondheids- en welzijnszorg</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1.9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Verhuur en handel van onroerend goed</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56%</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1782280633"/>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2749730745"/>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4099154195"/>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Hoorn</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41.8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29%</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laa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3117075722"/>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3799813123"/>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1481716698"/>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1353285487"/>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3021122132"/>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2,4%</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3,8%</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1,7%</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6%</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1%</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Hoorn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Hoorn</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28</Words>
  <Application>Microsoft Office PowerPoint</Application>
  <PresentationFormat>Widescreen</PresentationFormat>
  <Paragraphs>429</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Hoorn</vt:lpstr>
      <vt:lpstr>PowerPoint Presentation</vt:lpstr>
      <vt:lpstr>Historische bevolkingsontwikkeling Hoor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7T12:05:01Z</dcterms:modified>
</cp:coreProperties>
</file>